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4"/>
  </p:notesMasterIdLst>
  <p:handoutMasterIdLst>
    <p:handoutMasterId r:id="rId15"/>
  </p:handoutMasterIdLst>
  <p:sldIdLst>
    <p:sldId id="1277" r:id="rId3"/>
    <p:sldId id="1293" r:id="rId4"/>
    <p:sldId id="1294" r:id="rId5"/>
    <p:sldId id="1296" r:id="rId6"/>
    <p:sldId id="1372" r:id="rId7"/>
    <p:sldId id="1371" r:id="rId8"/>
    <p:sldId id="1373" r:id="rId9"/>
    <p:sldId id="1343" r:id="rId10"/>
    <p:sldId id="1344" r:id="rId11"/>
    <p:sldId id="1345" r:id="rId12"/>
    <p:sldId id="1346" r:id="rId1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72"/>
            <p14:sldId id="1371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1" autoAdjust="0"/>
    <p:restoredTop sz="94548" autoAdjust="0"/>
  </p:normalViewPr>
  <p:slideViewPr>
    <p:cSldViewPr snapToGrid="0">
      <p:cViewPr varScale="1">
        <p:scale>
          <a:sx n="61" d="100"/>
          <a:sy n="61" d="100"/>
        </p:scale>
        <p:origin x="96" y="10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7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7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515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7. 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8781111"/>
              </p:ext>
            </p:extLst>
          </p:nvPr>
        </p:nvGraphicFramePr>
        <p:xfrm>
          <a:off x="350228" y="708347"/>
          <a:ext cx="11519385" cy="586334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40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7473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494973"/>
              </p:ext>
            </p:extLst>
          </p:nvPr>
        </p:nvGraphicFramePr>
        <p:xfrm>
          <a:off x="372867" y="838718"/>
          <a:ext cx="11435203" cy="5212442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nace počtu C19 hospitalizovaných na standardních odděleních i v intenzivní péči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éči se daří zajistit za cenu omezení elektivní péče i výpomoci AČR/HZS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JIPy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á.</a:t>
                      </a:r>
                    </a:p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inemocniční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ransporty v rámci kraje.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akt. “stabilizovaná“ – snížil se počet nově přijímaných COVID pacientů. 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IP problém s velkým počtem post-COVID pacientů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17.12.2021 00:25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885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2932619"/>
              </p:ext>
            </p:extLst>
          </p:nvPr>
        </p:nvGraphicFramePr>
        <p:xfrm>
          <a:off x="237392" y="989024"/>
          <a:ext cx="9355016" cy="5385010"/>
        </p:xfrm>
        <a:graphic>
          <a:graphicData uri="http://schemas.openxmlformats.org/drawingml/2006/table">
            <a:tbl>
              <a:tblPr/>
              <a:tblGrid>
                <a:gridCol w="1985830">
                  <a:extLst>
                    <a:ext uri="{9D8B030D-6E8A-4147-A177-3AD203B41FA5}">
                      <a16:colId xmlns:a16="http://schemas.microsoft.com/office/drawing/2014/main" val="367067667"/>
                    </a:ext>
                  </a:extLst>
                </a:gridCol>
                <a:gridCol w="1215815">
                  <a:extLst>
                    <a:ext uri="{9D8B030D-6E8A-4147-A177-3AD203B41FA5}">
                      <a16:colId xmlns:a16="http://schemas.microsoft.com/office/drawing/2014/main" val="3107640388"/>
                    </a:ext>
                  </a:extLst>
                </a:gridCol>
                <a:gridCol w="1124629">
                  <a:extLst>
                    <a:ext uri="{9D8B030D-6E8A-4147-A177-3AD203B41FA5}">
                      <a16:colId xmlns:a16="http://schemas.microsoft.com/office/drawing/2014/main" val="3198338881"/>
                    </a:ext>
                  </a:extLst>
                </a:gridCol>
                <a:gridCol w="1121251">
                  <a:extLst>
                    <a:ext uri="{9D8B030D-6E8A-4147-A177-3AD203B41FA5}">
                      <a16:colId xmlns:a16="http://schemas.microsoft.com/office/drawing/2014/main" val="3554060124"/>
                    </a:ext>
                  </a:extLst>
                </a:gridCol>
                <a:gridCol w="1161778">
                  <a:extLst>
                    <a:ext uri="{9D8B030D-6E8A-4147-A177-3AD203B41FA5}">
                      <a16:colId xmlns:a16="http://schemas.microsoft.com/office/drawing/2014/main" val="2627753178"/>
                    </a:ext>
                  </a:extLst>
                </a:gridCol>
                <a:gridCol w="1165154">
                  <a:extLst>
                    <a:ext uri="{9D8B030D-6E8A-4147-A177-3AD203B41FA5}">
                      <a16:colId xmlns:a16="http://schemas.microsoft.com/office/drawing/2014/main" val="3844807724"/>
                    </a:ext>
                  </a:extLst>
                </a:gridCol>
                <a:gridCol w="1580559">
                  <a:extLst>
                    <a:ext uri="{9D8B030D-6E8A-4147-A177-3AD203B41FA5}">
                      <a16:colId xmlns:a16="http://schemas.microsoft.com/office/drawing/2014/main" val="3004523305"/>
                    </a:ext>
                  </a:extLst>
                </a:gridCol>
              </a:tblGrid>
              <a:tr h="174496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266086"/>
                  </a:ext>
                </a:extLst>
              </a:tr>
              <a:tr h="17449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7.12. 2021, 11:30 h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267633"/>
                  </a:ext>
                </a:extLst>
              </a:tr>
              <a:tr h="17449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1925884"/>
                  </a:ext>
                </a:extLst>
              </a:tr>
              <a:tr h="17449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9349600"/>
                  </a:ext>
                </a:extLst>
              </a:tr>
              <a:tr h="68167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8762671"/>
                  </a:ext>
                </a:extLst>
              </a:tr>
              <a:tr h="174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1287869"/>
                  </a:ext>
                </a:extLst>
              </a:tr>
              <a:tr h="174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2347753"/>
                  </a:ext>
                </a:extLst>
              </a:tr>
              <a:tr h="174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5479759"/>
                  </a:ext>
                </a:extLst>
              </a:tr>
              <a:tr h="174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3250996"/>
                  </a:ext>
                </a:extLst>
              </a:tr>
              <a:tr h="174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3536225"/>
                  </a:ext>
                </a:extLst>
              </a:tr>
              <a:tr h="174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1346703"/>
                  </a:ext>
                </a:extLst>
              </a:tr>
              <a:tr h="174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634287"/>
                  </a:ext>
                </a:extLst>
              </a:tr>
              <a:tr h="174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78308"/>
                  </a:ext>
                </a:extLst>
              </a:tr>
              <a:tr h="174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998550"/>
                  </a:ext>
                </a:extLst>
              </a:tr>
              <a:tr h="174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6208852"/>
                  </a:ext>
                </a:extLst>
              </a:tr>
              <a:tr h="174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4971677"/>
                  </a:ext>
                </a:extLst>
              </a:tr>
              <a:tr h="174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1980782"/>
                  </a:ext>
                </a:extLst>
              </a:tr>
              <a:tr h="174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717371"/>
                  </a:ext>
                </a:extLst>
              </a:tr>
              <a:tr h="174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8126565"/>
                  </a:ext>
                </a:extLst>
              </a:tr>
              <a:tr h="174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7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2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2572543"/>
                  </a:ext>
                </a:extLst>
              </a:tr>
              <a:tr h="174496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6874663"/>
                  </a:ext>
                </a:extLst>
              </a:tr>
              <a:tr h="3941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1772530"/>
                  </a:ext>
                </a:extLst>
              </a:tr>
              <a:tr h="811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8127668"/>
                  </a:ext>
                </a:extLst>
              </a:tr>
              <a:tr h="17449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x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16436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6703575"/>
              </p:ext>
            </p:extLst>
          </p:nvPr>
        </p:nvGraphicFramePr>
        <p:xfrm>
          <a:off x="332819" y="958448"/>
          <a:ext cx="9071156" cy="5409407"/>
        </p:xfrm>
        <a:graphic>
          <a:graphicData uri="http://schemas.openxmlformats.org/drawingml/2006/table">
            <a:tbl>
              <a:tblPr/>
              <a:tblGrid>
                <a:gridCol w="1925575">
                  <a:extLst>
                    <a:ext uri="{9D8B030D-6E8A-4147-A177-3AD203B41FA5}">
                      <a16:colId xmlns:a16="http://schemas.microsoft.com/office/drawing/2014/main" val="4290127766"/>
                    </a:ext>
                  </a:extLst>
                </a:gridCol>
                <a:gridCol w="1178923">
                  <a:extLst>
                    <a:ext uri="{9D8B030D-6E8A-4147-A177-3AD203B41FA5}">
                      <a16:colId xmlns:a16="http://schemas.microsoft.com/office/drawing/2014/main" val="3871114214"/>
                    </a:ext>
                  </a:extLst>
                </a:gridCol>
                <a:gridCol w="1090504">
                  <a:extLst>
                    <a:ext uri="{9D8B030D-6E8A-4147-A177-3AD203B41FA5}">
                      <a16:colId xmlns:a16="http://schemas.microsoft.com/office/drawing/2014/main" val="2042537360"/>
                    </a:ext>
                  </a:extLst>
                </a:gridCol>
                <a:gridCol w="1087229">
                  <a:extLst>
                    <a:ext uri="{9D8B030D-6E8A-4147-A177-3AD203B41FA5}">
                      <a16:colId xmlns:a16="http://schemas.microsoft.com/office/drawing/2014/main" val="1809633947"/>
                    </a:ext>
                  </a:extLst>
                </a:gridCol>
                <a:gridCol w="1126525">
                  <a:extLst>
                    <a:ext uri="{9D8B030D-6E8A-4147-A177-3AD203B41FA5}">
                      <a16:colId xmlns:a16="http://schemas.microsoft.com/office/drawing/2014/main" val="2866109353"/>
                    </a:ext>
                  </a:extLst>
                </a:gridCol>
                <a:gridCol w="1129801">
                  <a:extLst>
                    <a:ext uri="{9D8B030D-6E8A-4147-A177-3AD203B41FA5}">
                      <a16:colId xmlns:a16="http://schemas.microsoft.com/office/drawing/2014/main" val="855664040"/>
                    </a:ext>
                  </a:extLst>
                </a:gridCol>
                <a:gridCol w="1532599">
                  <a:extLst>
                    <a:ext uri="{9D8B030D-6E8A-4147-A177-3AD203B41FA5}">
                      <a16:colId xmlns:a16="http://schemas.microsoft.com/office/drawing/2014/main" val="3167484621"/>
                    </a:ext>
                  </a:extLst>
                </a:gridCol>
              </a:tblGrid>
              <a:tr h="198614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995838"/>
                  </a:ext>
                </a:extLst>
              </a:tr>
              <a:tr h="198614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7.12. 2021, 11:30 h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606286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0090950"/>
                  </a:ext>
                </a:extLst>
              </a:tr>
              <a:tr h="19861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4584848"/>
                  </a:ext>
                </a:extLst>
              </a:tr>
              <a:tr h="70542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0398751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4651285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1484746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5567963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6119378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5138576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7592133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3043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581165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5948492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3624941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5792536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8094436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1639019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9852619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6408816"/>
                  </a:ext>
                </a:extLst>
              </a:tr>
              <a:tr h="19861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7927873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707628"/>
                  </a:ext>
                </a:extLst>
              </a:tr>
              <a:tr h="19861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9065211"/>
                  </a:ext>
                </a:extLst>
              </a:tr>
              <a:tr h="19861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x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3604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17.12.2021 00:25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4</a:t>
            </a:r>
            <a:r>
              <a:rPr lang="cs-CZ" sz="2000" b="1" dirty="0"/>
              <a:t> </a:t>
            </a:r>
            <a:r>
              <a:rPr lang="cs-CZ" sz="2000" b="1" dirty="0" smtClean="0"/>
              <a:t>546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5511461"/>
              </p:ext>
            </p:extLst>
          </p:nvPr>
        </p:nvGraphicFramePr>
        <p:xfrm>
          <a:off x="254978" y="975947"/>
          <a:ext cx="8745587" cy="5366819"/>
        </p:xfrm>
        <a:graphic>
          <a:graphicData uri="http://schemas.openxmlformats.org/drawingml/2006/table">
            <a:tbl>
              <a:tblPr/>
              <a:tblGrid>
                <a:gridCol w="1777534">
                  <a:extLst>
                    <a:ext uri="{9D8B030D-6E8A-4147-A177-3AD203B41FA5}">
                      <a16:colId xmlns:a16="http://schemas.microsoft.com/office/drawing/2014/main" val="3591179764"/>
                    </a:ext>
                  </a:extLst>
                </a:gridCol>
                <a:gridCol w="1088286">
                  <a:extLst>
                    <a:ext uri="{9D8B030D-6E8A-4147-A177-3AD203B41FA5}">
                      <a16:colId xmlns:a16="http://schemas.microsoft.com/office/drawing/2014/main" val="4028695517"/>
                    </a:ext>
                  </a:extLst>
                </a:gridCol>
                <a:gridCol w="1006664">
                  <a:extLst>
                    <a:ext uri="{9D8B030D-6E8A-4147-A177-3AD203B41FA5}">
                      <a16:colId xmlns:a16="http://schemas.microsoft.com/office/drawing/2014/main" val="2579218182"/>
                    </a:ext>
                  </a:extLst>
                </a:gridCol>
                <a:gridCol w="1003641">
                  <a:extLst>
                    <a:ext uri="{9D8B030D-6E8A-4147-A177-3AD203B41FA5}">
                      <a16:colId xmlns:a16="http://schemas.microsoft.com/office/drawing/2014/main" val="2416700557"/>
                    </a:ext>
                  </a:extLst>
                </a:gridCol>
                <a:gridCol w="1039918">
                  <a:extLst>
                    <a:ext uri="{9D8B030D-6E8A-4147-A177-3AD203B41FA5}">
                      <a16:colId xmlns:a16="http://schemas.microsoft.com/office/drawing/2014/main" val="2371378714"/>
                    </a:ext>
                  </a:extLst>
                </a:gridCol>
                <a:gridCol w="1414772">
                  <a:extLst>
                    <a:ext uri="{9D8B030D-6E8A-4147-A177-3AD203B41FA5}">
                      <a16:colId xmlns:a16="http://schemas.microsoft.com/office/drawing/2014/main" val="1034735992"/>
                    </a:ext>
                  </a:extLst>
                </a:gridCol>
                <a:gridCol w="1414772">
                  <a:extLst>
                    <a:ext uri="{9D8B030D-6E8A-4147-A177-3AD203B41FA5}">
                      <a16:colId xmlns:a16="http://schemas.microsoft.com/office/drawing/2014/main" val="3297761025"/>
                    </a:ext>
                  </a:extLst>
                </a:gridCol>
              </a:tblGrid>
              <a:tr h="220871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5741963"/>
                  </a:ext>
                </a:extLst>
              </a:tr>
              <a:tr h="220871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7.12. 2021, 11:30 h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2889288"/>
                  </a:ext>
                </a:extLst>
              </a:tr>
              <a:tr h="18973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8008318"/>
                  </a:ext>
                </a:extLst>
              </a:tr>
              <a:tr h="22087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5692913"/>
                  </a:ext>
                </a:extLst>
              </a:tr>
              <a:tr h="59950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7918345"/>
                  </a:ext>
                </a:extLst>
              </a:tr>
              <a:tr h="1972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6387321"/>
                  </a:ext>
                </a:extLst>
              </a:tr>
              <a:tr h="1972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4762954"/>
                  </a:ext>
                </a:extLst>
              </a:tr>
              <a:tr h="1972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920169"/>
                  </a:ext>
                </a:extLst>
              </a:tr>
              <a:tr h="1972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2274"/>
                  </a:ext>
                </a:extLst>
              </a:tr>
              <a:tr h="1972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6767669"/>
                  </a:ext>
                </a:extLst>
              </a:tr>
              <a:tr h="1972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523200"/>
                  </a:ext>
                </a:extLst>
              </a:tr>
              <a:tr h="1972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2095903"/>
                  </a:ext>
                </a:extLst>
              </a:tr>
              <a:tr h="1972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9123915"/>
                  </a:ext>
                </a:extLst>
              </a:tr>
              <a:tr h="1972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2982255"/>
                  </a:ext>
                </a:extLst>
              </a:tr>
              <a:tr h="1972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910805"/>
                  </a:ext>
                </a:extLst>
              </a:tr>
              <a:tr h="1972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6062714"/>
                  </a:ext>
                </a:extLst>
              </a:tr>
              <a:tr h="1972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919369"/>
                  </a:ext>
                </a:extLst>
              </a:tr>
              <a:tr h="19720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5997643"/>
                  </a:ext>
                </a:extLst>
              </a:tr>
              <a:tr h="2050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4485295"/>
                  </a:ext>
                </a:extLst>
              </a:tr>
              <a:tr h="2129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2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40603"/>
                  </a:ext>
                </a:extLst>
              </a:tr>
              <a:tr h="197206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6003655"/>
                  </a:ext>
                </a:extLst>
              </a:tr>
              <a:tr h="18973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2578878"/>
                  </a:ext>
                </a:extLst>
              </a:tr>
              <a:tr h="18973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3159659"/>
                  </a:ext>
                </a:extLst>
              </a:tr>
              <a:tr h="19720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x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75336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7.12.2021 11:0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a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1842698"/>
              </p:ext>
            </p:extLst>
          </p:nvPr>
        </p:nvGraphicFramePr>
        <p:xfrm>
          <a:off x="1315360" y="2032535"/>
          <a:ext cx="5972946" cy="1720210"/>
        </p:xfrm>
        <a:graphic>
          <a:graphicData uri="http://schemas.openxmlformats.org/drawingml/2006/table">
            <a:tbl>
              <a:tblPr/>
              <a:tblGrid>
                <a:gridCol w="3727065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20131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625750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318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 14:5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Šumperk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 6:5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Litoměř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 7:5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Pardub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 9:2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19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5259487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17.12.2021 00:25 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 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5 431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849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2,5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885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80 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,3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610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68,9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2 039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7,5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546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63 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6,7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287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0,3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653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102355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2.2021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cs-CZ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637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,8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7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87313" y="3263615"/>
            <a:ext cx="105686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Za 16.12. bylo 303 nově přijatých pac. a 426 propuštěných.</a:t>
            </a:r>
            <a:endParaRPr lang="cs-CZ" dirty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KKIP – bez požadavků na mezikrajové překlady. Situace v krajích neměnná (omezený personál, zastavená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), ale dochází k mírnému zlepšení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 startAt="3"/>
              <a:tabLst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ULK – postupné zlepšení situace, stagnace počtu IP i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stand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. pacientů., stále omezená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 o 50%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      PAK – postupné zlepšení situace, maximalizace kapacity lůžek IP i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stand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., </a:t>
            </a:r>
            <a:r>
              <a:rPr lang="cs-CZ" dirty="0" err="1">
                <a:solidFill>
                  <a:prstClr val="black"/>
                </a:solidFill>
                <a:latin typeface="Segoe UI"/>
              </a:rPr>
              <a:t>e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 nadále zastavena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606585"/>
            <a:ext cx="525489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é kapacity JIP v tomto týdnu začaly stoupat a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. Lůžka jsou, ale stále obsazena post COVID pacienty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4605541"/>
              </p:ext>
            </p:extLst>
          </p:nvPr>
        </p:nvGraphicFramePr>
        <p:xfrm>
          <a:off x="332646" y="832094"/>
          <a:ext cx="11405086" cy="4634831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5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a 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mocnice na Bulovce hlásí kapacitní problémy na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je nadále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Onkologická aj. neodkladná operativa běží bez omez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se ale pozvolna zlepšuje, alespoň z pohledu standardních oddělení, maximalizovány kapacity standardní i intenzivní péče, rezerva lůžek zůstává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iziková je nadále intenzivní péče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562845"/>
              </p:ext>
            </p:extLst>
          </p:nvPr>
        </p:nvGraphicFramePr>
        <p:xfrm>
          <a:off x="279292" y="841021"/>
          <a:ext cx="11587543" cy="5025388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1889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 ve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éči vzhledem k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Omezená možnost překladů již neinfekčních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.</a:t>
                      </a: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péči. 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3341</TotalTime>
  <Words>1995</Words>
  <Application>Microsoft Office PowerPoint</Application>
  <PresentationFormat>Širokoúhlá obrazovka</PresentationFormat>
  <Paragraphs>560</Paragraphs>
  <Slides>11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8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 - aktualizace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aniel Karafiát</cp:lastModifiedBy>
  <cp:revision>1751</cp:revision>
  <cp:lastPrinted>2020-10-20T04:21:56Z</cp:lastPrinted>
  <dcterms:created xsi:type="dcterms:W3CDTF">2020-07-15T10:33:32Z</dcterms:created>
  <dcterms:modified xsi:type="dcterms:W3CDTF">2021-12-17T10:25:18Z</dcterms:modified>
</cp:coreProperties>
</file>